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24"/>
  </p:sldMasterIdLst>
  <p:notesMasterIdLst>
    <p:notesMasterId r:id="rId26"/>
  </p:notesMasterIdLst>
  <p:handoutMasterIdLst>
    <p:handoutMasterId r:id="rId27"/>
  </p:handoutMasterIdLst>
  <p:sldIdLst>
    <p:sldId id="2147309416" r:id="rId25"/>
  </p:sldIdLst>
  <p:sldSz cx="12192000" cy="6858000"/>
  <p:notesSz cx="6797675" cy="9926638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6" orient="horz" pos="1457" userDrawn="1">
          <p15:clr>
            <a:srgbClr val="A4A3A4"/>
          </p15:clr>
        </p15:guide>
        <p15:guide id="17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BB3AD25-6746-36B8-DD50-CD9E23AAFC3E}" name="Trude Wictoria Bersvendsen" initials="TWB" userId="S::trudeber@ntnu.no::b0bd4654-ae9e-4d2a-ac5e-f9ef4df2258d" providerId="AD"/>
  <p188:author id="{2273F832-6C13-68EF-6B7B-ABA9C5EDE550}" name="Gry-Lene Johansen" initials="GLJ" userId="S::grylj@ntnu.no::acbf094c-51cb-4117-b367-2a5f9274475b" providerId="AD"/>
  <p188:author id="{D239229E-55E8-F07D-18DB-A4D7FB8ADB62}" name="Tore Hugubakken" initials="TH" userId="S::torehu@ntnu.no::e28649f4-614d-401c-adf6-30b64fe97553" providerId="AD"/>
  <p188:author id="{E36AC4F8-D8F5-D378-D27E-C2CB0C4D9ADF}" name="Prestegard, Tor Sivertsen" initials="PTS" userId="S::toprestegard@deloitte.no::799e702e-8b8c-44e0-982e-450794514f6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09E"/>
    <a:srgbClr val="FFFFFF"/>
    <a:srgbClr val="B6C8E9"/>
    <a:srgbClr val="E2F0FF"/>
    <a:srgbClr val="E6E6E6"/>
    <a:srgbClr val="C7B98A"/>
    <a:srgbClr val="CDE4FF"/>
    <a:srgbClr val="000000"/>
    <a:srgbClr val="B1CFDA"/>
    <a:srgbClr val="62A0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8484" autoAdjust="0"/>
  </p:normalViewPr>
  <p:slideViewPr>
    <p:cSldViewPr snapToGrid="0">
      <p:cViewPr varScale="1">
        <p:scale>
          <a:sx n="144" d="100"/>
          <a:sy n="144" d="100"/>
        </p:scale>
        <p:origin x="3126" y="114"/>
      </p:cViewPr>
      <p:guideLst>
        <p:guide orient="horz" pos="145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1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4" y="1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4/2024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7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07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005" tIns="49002" rIns="98005" bIns="49002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8005" tIns="49002" rIns="98005" bIns="4900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299E8F-1874-4320-957D-3D9F7F89BEC5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8672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15EB6C9-F4A6-857F-9528-3D550FB936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2C30D47-7FB1-D104-6295-DC452DE210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7F690A4-F2A2-F883-B95F-96334D8947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30F17B0-4A5C-4A8E-511D-38894475E5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2C3CBE5-708E-D58B-E510-839919259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914894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A7C820B-FCD2-9AC4-8305-D83FDD5CB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EBD6D5E1-4269-E7F4-3506-7722A1D3E59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E01AD97-3634-0811-3C9A-8F8DFF0028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7E82AC4-D484-9692-8BF2-1A9D6B5097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49B9B8C-65B1-D0BC-D5A1-96D01817E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71658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D73A4DD0-F327-F646-51DB-0CDAFF3AA3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83222273-5051-FB43-545E-7BEC3D08C1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9BBCB95-ACBB-DC15-437E-19B43E056D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9DBE704-5B6D-03C8-135D-8AF7F48E83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3E5B0C7-A598-9A94-7233-F10AC9026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217024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2D16FA-0D7E-7165-1A13-24D683637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3714764-F61E-DC3E-310C-08E5496780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3012318-5899-EC71-428F-5FD35EDDDF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C291EBB-F399-8C60-5D0A-45D5A6C9D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B79F28B-667E-88C3-1628-39E8C30F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468493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FE63D35-4DFA-5A62-9950-61220E480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5F26229-2AE3-CC2D-49F0-43462547F6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6B3652D-6922-E345-39E2-F65588335D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EAD2B49-BB2F-24A2-E6F6-F734729BE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CFC2443-9256-FA03-1686-37C4E5B80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32236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D91CD1-9393-E1BD-5AFF-8588D067C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307AE6F-4418-B528-45FA-614A2FD8A9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B948B696-18F3-C5DA-C3DC-B2FCF57218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555A1014-A9C6-4958-9558-C8E051377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10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F4D6B60-A6C0-5EEE-EFB0-AB1473326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7562CA32-0D2C-FAE8-8141-3F4F1360C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893284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D1DB89-5DAE-19FB-5B62-028F45269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101BDCE-3C00-E2BC-2ED6-C8C2105E83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5EDD885-EC78-2CBE-2099-FF412B2519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203BAE54-AB6A-CEB4-CD32-CDC36B51E21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7ED2F906-D529-FA7F-0A0C-C659EC8B9D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C6E4A505-F6B4-C027-793E-ADED0EB4E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10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347BB84B-9EF1-B81E-72E6-5E49498E3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F04B3DC2-4258-8F41-33A8-35E97884B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34621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7EF6953-76DB-9B5D-F5BF-893CEAF7D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3E551EF1-11F3-C20B-8D77-BC52F52C8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10.2024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387EEB85-6871-6AF9-6254-06B1B69FD5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296C5DD-0A5C-ACC3-FA2C-4FC7D2A24C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15130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26381D76-2A48-E9B0-E018-9640DFA071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10.2024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23B7057-7306-580B-8E9D-74A975BA8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8CA8F56-5FFF-78E6-863C-9700F1FA4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982237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B26D794-B753-17BB-E451-FCE6BBE126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32FB065-28E7-7CAC-59C7-51EE5DBDCF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FB0D279E-4808-ED64-DA35-2FA303F1C2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D5774801-5A66-FF04-6ABC-6AE82CB5C1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10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9F8A9650-FB7C-A83E-8DFF-7480FCBCB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A4C327C-59C5-B912-222C-19F160EBA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749457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198AE7D-E534-3EF1-D0E8-912149C33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124DF274-3B11-42BC-6160-72F08FA19D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A962E460-2466-C697-6459-8C03CF0D0D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353AB76-7DB0-F26B-5680-D90F34EAF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10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AACE69B5-EF43-6382-3307-F4ACC4663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7A73DB2-6BD6-068B-13CA-B783FF87B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93278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F067FD-F693-44AC-BCD0-D2D4CB7E2E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94112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F067FD-F693-44AC-BCD0-D2D4CB7E2E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B7206C09-4076-0C89-83DB-5FBC743F25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4501CFA-3073-A28C-C231-C04E4EEDF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A2DE291B-B290-4862-6AA9-030B01CEE2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E19D63-6A62-4948-A7E6-D2CEECE78D44}" type="datetimeFigureOut">
              <a:rPr lang="nb-NO" smtClean="0"/>
              <a:t>04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F2AF388-C7A8-7ED0-AB43-D9E95E7D08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2D4BBE6-D356-03FF-E73C-7EDE5E6013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9235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17.svg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2.svg"/><Relationship Id="rId20" Type="http://schemas.openxmlformats.org/officeDocument/2006/relationships/image" Target="../media/image16.png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19" Type="http://schemas.openxmlformats.org/officeDocument/2006/relationships/image" Target="../media/image15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svg"/><Relationship Id="rId14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FB2A83D-E3C3-4870-8303-BD37FF3CBE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FB2A83D-E3C3-4870-8303-BD37FF3CB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D9379B-7E23-4514-AFCA-8A49B73692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287877"/>
            <a:ext cx="11224996" cy="648512"/>
          </a:xfrm>
        </p:spPr>
        <p:txBody>
          <a:bodyPr vert="horz">
            <a:normAutofit fontScale="90000"/>
          </a:bodyPr>
          <a:lstStyle/>
          <a:p>
            <a:br>
              <a:rPr lang="en-US" sz="3600" b="1">
                <a:ea typeface="+mj-lt"/>
                <a:cs typeface="+mj-lt"/>
              </a:rPr>
            </a:br>
            <a:r>
              <a:rPr lang="en-US" sz="4800" b="1" err="1">
                <a:latin typeface="Arial"/>
                <a:ea typeface="+mj-lt"/>
                <a:cs typeface="+mj-lt"/>
              </a:rPr>
              <a:t>Brukerstøtte</a:t>
            </a:r>
            <a:endParaRPr lang="nb-NO" sz="4800">
              <a:latin typeface="Arial"/>
              <a:ea typeface="+mj-lt"/>
              <a:cs typeface="+mj-lt"/>
            </a:endParaRPr>
          </a:p>
          <a:p>
            <a:endParaRPr lang="nb-NO" sz="3600">
              <a:cs typeface="Calibri Ligh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6A5F84-E3E1-4890-BCB4-8383871300D7}"/>
              </a:ext>
            </a:extLst>
          </p:cNvPr>
          <p:cNvSpPr txBox="1"/>
          <p:nvPr/>
        </p:nvSpPr>
        <p:spPr>
          <a:xfrm>
            <a:off x="1920161" y="1741422"/>
            <a:ext cx="2000251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Innsida - BOTT Innføring</a:t>
            </a:r>
          </a:p>
          <a:p>
            <a:pPr marL="171446" indent="-171446">
              <a:buFontTx/>
              <a:buChar char="-"/>
            </a:pPr>
            <a:r>
              <a:rPr lang="nb-NO" sz="1100"/>
              <a:t>Informasjon om roller, prosjekter  og Q&amp;A</a:t>
            </a:r>
          </a:p>
          <a:p>
            <a:pPr marL="171446" indent="-171446">
              <a:buFontTx/>
              <a:buChar char="-"/>
            </a:pPr>
            <a:r>
              <a:rPr lang="nb-NO" sz="1100"/>
              <a:t>Informasjon om opplæring</a:t>
            </a:r>
          </a:p>
          <a:p>
            <a:r>
              <a:rPr lang="nb-NO" sz="1100"/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D2B3E8-2959-4B58-9A44-756FD8D8CD41}"/>
              </a:ext>
            </a:extLst>
          </p:cNvPr>
          <p:cNvSpPr txBox="1"/>
          <p:nvPr/>
        </p:nvSpPr>
        <p:spPr>
          <a:xfrm>
            <a:off x="1856098" y="4202936"/>
            <a:ext cx="217391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BOTT-samarbeidet.no</a:t>
            </a:r>
          </a:p>
          <a:p>
            <a:pPr marL="171446" indent="-171446">
              <a:buFontTx/>
              <a:buChar char="-"/>
            </a:pPr>
            <a:r>
              <a:rPr lang="nb-NO" sz="1100"/>
              <a:t>Rutiner, brukerveiledning, systemvideoer</a:t>
            </a:r>
          </a:p>
          <a:p>
            <a:endParaRPr lang="nb-NO" sz="11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D6F2E9-63E4-4F22-B4A2-20AD0E0D4014}"/>
              </a:ext>
            </a:extLst>
          </p:cNvPr>
          <p:cNvSpPr txBox="1"/>
          <p:nvPr/>
        </p:nvSpPr>
        <p:spPr>
          <a:xfrm>
            <a:off x="5141020" y="2544244"/>
            <a:ext cx="14751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 err="1"/>
              <a:t>Teamsrom</a:t>
            </a:r>
            <a:r>
              <a:rPr lang="nb-NO" sz="1100" dirty="0"/>
              <a:t> betjent av fagressurs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419998-FAC0-457C-9B8D-060B29CCB6A7}"/>
              </a:ext>
            </a:extLst>
          </p:cNvPr>
          <p:cNvSpPr txBox="1"/>
          <p:nvPr/>
        </p:nvSpPr>
        <p:spPr>
          <a:xfrm>
            <a:off x="7345725" y="2508022"/>
            <a:ext cx="263944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Prosessrådgivernettverk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nb-NO" sz="1100"/>
              <a:t>Prosessansvarlige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nb-NO" sz="1100"/>
              <a:t>NTNU nettverk av prosessrådgivere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085821-C28B-405F-BE94-CB8AAA62FAD6}"/>
              </a:ext>
            </a:extLst>
          </p:cNvPr>
          <p:cNvSpPr/>
          <p:nvPr/>
        </p:nvSpPr>
        <p:spPr>
          <a:xfrm>
            <a:off x="560089" y="1260684"/>
            <a:ext cx="3405545" cy="4983517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5C0E359-2A9D-4148-BFCB-3E0551BE2D91}"/>
              </a:ext>
            </a:extLst>
          </p:cNvPr>
          <p:cNvSpPr txBox="1"/>
          <p:nvPr/>
        </p:nvSpPr>
        <p:spPr>
          <a:xfrm>
            <a:off x="1863011" y="5161569"/>
            <a:ext cx="205740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TEAMS – innføringsprosjekt / lokalt</a:t>
            </a:r>
          </a:p>
          <a:p>
            <a:pPr marL="171446" indent="-171446">
              <a:buFontTx/>
              <a:buChar char="-"/>
            </a:pPr>
            <a:r>
              <a:rPr lang="nb-NO" sz="1100"/>
              <a:t>Rutiner, brukerveiledning, systemvideoer</a:t>
            </a:r>
          </a:p>
          <a:p>
            <a:endParaRPr lang="nb-NO" sz="110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1525B44-5F0D-46E5-A10E-A4BF0524D17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820965" y="5040616"/>
            <a:ext cx="864209" cy="80180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1195A43-26E2-4AD0-A59A-9DAC7CC9CD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8098" y="4214098"/>
            <a:ext cx="1098951" cy="569489"/>
          </a:xfrm>
          <a:prstGeom prst="rect">
            <a:avLst/>
          </a:prstGeom>
        </p:spPr>
      </p:pic>
      <p:pic>
        <p:nvPicPr>
          <p:cNvPr id="37" name="Graphic 36" descr="Laptop outline">
            <a:extLst>
              <a:ext uri="{FF2B5EF4-FFF2-40B4-BE49-F238E27FC236}">
                <a16:creationId xmlns:a16="http://schemas.microsoft.com/office/drawing/2014/main" id="{FEEFBE91-8856-47B6-848D-55CBA3BF88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37208" y="2354364"/>
            <a:ext cx="747133" cy="747133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3EF21185-3056-4497-9E19-73312DED08C6}"/>
              </a:ext>
            </a:extLst>
          </p:cNvPr>
          <p:cNvSpPr txBox="1"/>
          <p:nvPr/>
        </p:nvSpPr>
        <p:spPr>
          <a:xfrm>
            <a:off x="1240141" y="1125580"/>
            <a:ext cx="229235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0. Linje - Selvbetjening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7617FBB-8087-4F67-86B4-F8E6C9D7D663}"/>
              </a:ext>
            </a:extLst>
          </p:cNvPr>
          <p:cNvSpPr/>
          <p:nvPr/>
        </p:nvSpPr>
        <p:spPr>
          <a:xfrm>
            <a:off x="4272298" y="4126527"/>
            <a:ext cx="7354545" cy="871815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82DC64C-37AB-410F-81DF-825F2A959961}"/>
              </a:ext>
            </a:extLst>
          </p:cNvPr>
          <p:cNvSpPr txBox="1"/>
          <p:nvPr/>
        </p:nvSpPr>
        <p:spPr>
          <a:xfrm>
            <a:off x="4314259" y="4460524"/>
            <a:ext cx="18209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Økonomiavdelingen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A01A10-A22B-45DD-82A0-CE2E71B26B2A}"/>
              </a:ext>
            </a:extLst>
          </p:cNvPr>
          <p:cNvSpPr txBox="1"/>
          <p:nvPr/>
        </p:nvSpPr>
        <p:spPr>
          <a:xfrm>
            <a:off x="6772419" y="3989192"/>
            <a:ext cx="233283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3.Linje – Sentral fagstøtt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3CA178F-6FD7-44AE-AF2A-37CA32973772}"/>
              </a:ext>
            </a:extLst>
          </p:cNvPr>
          <p:cNvSpPr txBox="1"/>
          <p:nvPr/>
        </p:nvSpPr>
        <p:spPr>
          <a:xfrm>
            <a:off x="9610453" y="4386853"/>
            <a:ext cx="18209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/>
              <a:t>Tjenestesenteret (HR og Lønn) </a:t>
            </a: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1CF3A4CA-F053-4066-A177-270FE1E61C01}"/>
              </a:ext>
            </a:extLst>
          </p:cNvPr>
          <p:cNvSpPr/>
          <p:nvPr/>
        </p:nvSpPr>
        <p:spPr>
          <a:xfrm rot="5400000">
            <a:off x="9648279" y="3735110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B79347DC-8C6E-40E3-8A1F-5C44098FD39B}"/>
              </a:ext>
            </a:extLst>
          </p:cNvPr>
          <p:cNvSpPr/>
          <p:nvPr/>
        </p:nvSpPr>
        <p:spPr>
          <a:xfrm rot="5400000">
            <a:off x="5786851" y="3741611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15E60EA-494E-45BA-A37F-BD7FCEF230CE}"/>
              </a:ext>
            </a:extLst>
          </p:cNvPr>
          <p:cNvSpPr/>
          <p:nvPr/>
        </p:nvSpPr>
        <p:spPr>
          <a:xfrm>
            <a:off x="4272298" y="2350286"/>
            <a:ext cx="7377311" cy="1413823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02D0D31-0CEC-46E0-B827-85BC68A58FFE}"/>
              </a:ext>
            </a:extLst>
          </p:cNvPr>
          <p:cNvSpPr txBox="1"/>
          <p:nvPr/>
        </p:nvSpPr>
        <p:spPr>
          <a:xfrm>
            <a:off x="6751361" y="2215473"/>
            <a:ext cx="243054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2. Linje Sentral brukerstøtt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9796474-0BEB-42C8-9675-803A666C7E42}"/>
              </a:ext>
            </a:extLst>
          </p:cNvPr>
          <p:cNvSpPr/>
          <p:nvPr/>
        </p:nvSpPr>
        <p:spPr>
          <a:xfrm>
            <a:off x="4272298" y="5370178"/>
            <a:ext cx="7377311" cy="871815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69A96D3-CB14-41C5-A595-6315E8678EA2}"/>
              </a:ext>
            </a:extLst>
          </p:cNvPr>
          <p:cNvSpPr txBox="1"/>
          <p:nvPr/>
        </p:nvSpPr>
        <p:spPr>
          <a:xfrm>
            <a:off x="6698965" y="5202079"/>
            <a:ext cx="278648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4.Linje – Eskalering fra NTNU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EEB38D2-12A0-42A9-9EE4-6AFBAB0A5076}"/>
              </a:ext>
            </a:extLst>
          </p:cNvPr>
          <p:cNvSpPr txBox="1"/>
          <p:nvPr/>
        </p:nvSpPr>
        <p:spPr>
          <a:xfrm>
            <a:off x="4773733" y="5707673"/>
            <a:ext cx="33871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BOTT Forvaltning: Nasjonale forbedringsteam</a:t>
            </a:r>
          </a:p>
        </p:txBody>
      </p:sp>
      <p:pic>
        <p:nvPicPr>
          <p:cNvPr id="6158" name="Picture 14" descr="Direktoratet for forvaltning og økonomistyring (DFØ), profil og ledige  stillinger | FINN jobb">
            <a:extLst>
              <a:ext uri="{FF2B5EF4-FFF2-40B4-BE49-F238E27FC236}">
                <a16:creationId xmlns:a16="http://schemas.microsoft.com/office/drawing/2014/main" id="{21E1B462-EEA5-44C1-9839-C190BD3AA1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9374" y="5621772"/>
            <a:ext cx="1406111" cy="387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0E3FBF8F-96E1-4C7F-A454-E1B68F0426A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405" t="13490"/>
          <a:stretch/>
        </p:blipFill>
        <p:spPr>
          <a:xfrm>
            <a:off x="9862521" y="2486801"/>
            <a:ext cx="1746207" cy="1073971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40A80C7-03D8-4237-87EA-041E943A205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6122" y="1721226"/>
            <a:ext cx="1260959" cy="767769"/>
          </a:xfrm>
          <a:prstGeom prst="rect">
            <a:avLst/>
          </a:prstGeom>
        </p:spPr>
      </p:pic>
      <p:sp>
        <p:nvSpPr>
          <p:cNvPr id="60" name="Arrow: Right 59">
            <a:extLst>
              <a:ext uri="{FF2B5EF4-FFF2-40B4-BE49-F238E27FC236}">
                <a16:creationId xmlns:a16="http://schemas.microsoft.com/office/drawing/2014/main" id="{6986C6D6-60C5-4DDC-B976-DE76A6975B14}"/>
              </a:ext>
            </a:extLst>
          </p:cNvPr>
          <p:cNvSpPr/>
          <p:nvPr/>
        </p:nvSpPr>
        <p:spPr>
          <a:xfrm rot="5400000">
            <a:off x="9673802" y="4959991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1CC270C3-F27F-4F17-AD83-25A8795F710B}"/>
              </a:ext>
            </a:extLst>
          </p:cNvPr>
          <p:cNvSpPr/>
          <p:nvPr/>
        </p:nvSpPr>
        <p:spPr>
          <a:xfrm rot="5400000">
            <a:off x="5784134" y="4977135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pic>
        <p:nvPicPr>
          <p:cNvPr id="6144" name="Graphic 6143" descr="Group of women with solid fill">
            <a:extLst>
              <a:ext uri="{FF2B5EF4-FFF2-40B4-BE49-F238E27FC236}">
                <a16:creationId xmlns:a16="http://schemas.microsoft.com/office/drawing/2014/main" id="{487189A5-35B1-4EE2-8CA1-7E68D5357DE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16678" y="2502825"/>
            <a:ext cx="564943" cy="564943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0641F411-40F1-4B32-B02D-B4D7A4E6F935}"/>
              </a:ext>
            </a:extLst>
          </p:cNvPr>
          <p:cNvSpPr txBox="1"/>
          <p:nvPr/>
        </p:nvSpPr>
        <p:spPr>
          <a:xfrm>
            <a:off x="1957102" y="2873201"/>
            <a:ext cx="200024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DFØ – Kundesider: Selvbetjeningsportal og Unit4 ERP</a:t>
            </a:r>
          </a:p>
          <a:p>
            <a:pPr marL="171446" indent="-171446">
              <a:buFontTx/>
              <a:buChar char="-"/>
            </a:pPr>
            <a:r>
              <a:rPr lang="nb-NO" sz="1100"/>
              <a:t>Hjelp og veiledninger til hvordan du bruker systemene</a:t>
            </a:r>
          </a:p>
        </p:txBody>
      </p:sp>
      <p:sp>
        <p:nvSpPr>
          <p:cNvPr id="6147" name="TextBox 6146">
            <a:extLst>
              <a:ext uri="{FF2B5EF4-FFF2-40B4-BE49-F238E27FC236}">
                <a16:creationId xmlns:a16="http://schemas.microsoft.com/office/drawing/2014/main" id="{E1AEF4DB-D005-45E2-A1DC-A75BA0EC8EE9}"/>
              </a:ext>
            </a:extLst>
          </p:cNvPr>
          <p:cNvSpPr txBox="1"/>
          <p:nvPr/>
        </p:nvSpPr>
        <p:spPr>
          <a:xfrm>
            <a:off x="5183518" y="3145355"/>
            <a:ext cx="20923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/>
              <a:t>Betjent e-post og/eller </a:t>
            </a:r>
            <a:br>
              <a:rPr lang="nb-NO" sz="1100" dirty="0"/>
            </a:br>
            <a:r>
              <a:rPr lang="nb-NO" sz="1100" dirty="0"/>
              <a:t>telefon</a:t>
            </a:r>
          </a:p>
        </p:txBody>
      </p:sp>
      <p:pic>
        <p:nvPicPr>
          <p:cNvPr id="6150" name="Graphic 6149" descr="Envelope with solid fill">
            <a:extLst>
              <a:ext uri="{FF2B5EF4-FFF2-40B4-BE49-F238E27FC236}">
                <a16:creationId xmlns:a16="http://schemas.microsoft.com/office/drawing/2014/main" id="{D77FE7F9-75AC-4E98-971B-1C9D29CEAD0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347122" y="3038799"/>
            <a:ext cx="730692" cy="730692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17F0A348-DA59-45EC-B82D-D98384B69BF9}"/>
              </a:ext>
            </a:extLst>
          </p:cNvPr>
          <p:cNvSpPr txBox="1"/>
          <p:nvPr/>
        </p:nvSpPr>
        <p:spPr>
          <a:xfrm>
            <a:off x="6014345" y="4460523"/>
            <a:ext cx="16046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IT (tilgangsstyring)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83FC5A9-6D90-422D-961B-8A5D66D1A18D}"/>
              </a:ext>
            </a:extLst>
          </p:cNvPr>
          <p:cNvSpPr txBox="1"/>
          <p:nvPr/>
        </p:nvSpPr>
        <p:spPr>
          <a:xfrm>
            <a:off x="7802263" y="4368190"/>
            <a:ext cx="16046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Virksomhetsstyring (BEVISST, PBO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CDB4AF7-658C-47BA-AE60-7BF86FB7F3C8}"/>
              </a:ext>
            </a:extLst>
          </p:cNvPr>
          <p:cNvSpPr/>
          <p:nvPr/>
        </p:nvSpPr>
        <p:spPr>
          <a:xfrm>
            <a:off x="4272298" y="1260685"/>
            <a:ext cx="7377311" cy="741321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A27DA4-630F-443C-9424-F8B73C511025}"/>
              </a:ext>
            </a:extLst>
          </p:cNvPr>
          <p:cNvSpPr txBox="1"/>
          <p:nvPr/>
        </p:nvSpPr>
        <p:spPr>
          <a:xfrm>
            <a:off x="6378239" y="1129060"/>
            <a:ext cx="316542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1. Linje – Lokal brukerstøtte (nivå 2/3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27A5291-0107-4380-A888-12E38BFA11E9}"/>
              </a:ext>
            </a:extLst>
          </p:cNvPr>
          <p:cNvSpPr txBox="1"/>
          <p:nvPr/>
        </p:nvSpPr>
        <p:spPr>
          <a:xfrm>
            <a:off x="4982839" y="1544982"/>
            <a:ext cx="14751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Faggruppenettverk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4609D71-DC96-43B4-9076-C388D6D879B5}"/>
              </a:ext>
            </a:extLst>
          </p:cNvPr>
          <p:cNvSpPr txBox="1"/>
          <p:nvPr/>
        </p:nvSpPr>
        <p:spPr>
          <a:xfrm>
            <a:off x="9699997" y="1464512"/>
            <a:ext cx="17836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err="1"/>
              <a:t>Teamskanal</a:t>
            </a:r>
            <a:r>
              <a:rPr lang="nb-NO" sz="1100"/>
              <a:t> for samarbeid og avklaringer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9F49407-3C4B-47F9-BBF0-295126E007B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25063" y="2870901"/>
            <a:ext cx="1204267" cy="767769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65784ADC-71A3-46D8-8DF2-AD99B18A4241}"/>
              </a:ext>
            </a:extLst>
          </p:cNvPr>
          <p:cNvSpPr txBox="1"/>
          <p:nvPr/>
        </p:nvSpPr>
        <p:spPr>
          <a:xfrm>
            <a:off x="7169519" y="1523710"/>
            <a:ext cx="18698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Lokale prosessrådgivere </a:t>
            </a:r>
          </a:p>
        </p:txBody>
      </p:sp>
      <p:pic>
        <p:nvPicPr>
          <p:cNvPr id="18" name="Graphic 17" descr="Gender outline">
            <a:extLst>
              <a:ext uri="{FF2B5EF4-FFF2-40B4-BE49-F238E27FC236}">
                <a16:creationId xmlns:a16="http://schemas.microsoft.com/office/drawing/2014/main" id="{A440E5D0-555D-4A02-B7F5-83432D4FC82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21402" y="1442886"/>
            <a:ext cx="448119" cy="448119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DA6EFF76-2A2C-4CD1-9E3E-B28051B8F0E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9163193" y="1414235"/>
            <a:ext cx="509792" cy="472983"/>
          </a:xfrm>
          <a:prstGeom prst="rect">
            <a:avLst/>
          </a:prstGeom>
        </p:spPr>
      </p:pic>
      <p:pic>
        <p:nvPicPr>
          <p:cNvPr id="23" name="Graphic 22" descr="Group success with solid fill">
            <a:extLst>
              <a:ext uri="{FF2B5EF4-FFF2-40B4-BE49-F238E27FC236}">
                <a16:creationId xmlns:a16="http://schemas.microsoft.com/office/drawing/2014/main" id="{574D466F-9281-4A20-BBEF-9C2AAB177A8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23513" y="1348160"/>
            <a:ext cx="608417" cy="608417"/>
          </a:xfrm>
          <a:prstGeom prst="rect">
            <a:avLst/>
          </a:prstGeom>
        </p:spPr>
      </p:pic>
      <p:sp>
        <p:nvSpPr>
          <p:cNvPr id="63" name="Arrow: Right 62">
            <a:extLst>
              <a:ext uri="{FF2B5EF4-FFF2-40B4-BE49-F238E27FC236}">
                <a16:creationId xmlns:a16="http://schemas.microsoft.com/office/drawing/2014/main" id="{89457D3E-61ED-4C5F-AE85-0BDE3950C6F2}"/>
              </a:ext>
            </a:extLst>
          </p:cNvPr>
          <p:cNvSpPr/>
          <p:nvPr/>
        </p:nvSpPr>
        <p:spPr>
          <a:xfrm rot="5400000">
            <a:off x="9648279" y="1962915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64" name="Arrow: Right 63">
            <a:extLst>
              <a:ext uri="{FF2B5EF4-FFF2-40B4-BE49-F238E27FC236}">
                <a16:creationId xmlns:a16="http://schemas.microsoft.com/office/drawing/2014/main" id="{FA10FA23-6C3D-4808-ADFD-26D5C4791C3C}"/>
              </a:ext>
            </a:extLst>
          </p:cNvPr>
          <p:cNvSpPr/>
          <p:nvPr/>
        </p:nvSpPr>
        <p:spPr>
          <a:xfrm rot="5400000">
            <a:off x="5786851" y="1969415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47909E16-D200-4D53-8377-6D760B060EC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6821019" y="3116911"/>
            <a:ext cx="586340" cy="544003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45A7F6B7-D895-46D9-9D87-416BF0D066FB}"/>
              </a:ext>
            </a:extLst>
          </p:cNvPr>
          <p:cNvSpPr txBox="1"/>
          <p:nvPr/>
        </p:nvSpPr>
        <p:spPr>
          <a:xfrm>
            <a:off x="7398286" y="3262586"/>
            <a:ext cx="22430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 err="1"/>
              <a:t>Teamskanaler</a:t>
            </a:r>
            <a:r>
              <a:rPr lang="nb-NO" sz="1100" dirty="0"/>
              <a:t> for fagbrukere</a:t>
            </a:r>
          </a:p>
        </p:txBody>
      </p:sp>
    </p:spTree>
    <p:extLst>
      <p:ext uri="{BB962C8B-B14F-4D97-AF65-F5344CB8AC3E}">
        <p14:creationId xmlns:p14="http://schemas.microsoft.com/office/powerpoint/2010/main" val="33687936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FormConfiguration><![CDATA[{"formFields":[{"dataSource":"Audience","displayColumn":"audience","hideIfNoUserInteractionRequired":false,"distinct":true,"required":true,"autoSelectFirstOption":false,"type":"dropDown","name":"Audience","label":"External/internal","helpTexts":{"prefix":"","postfix":""},"spacing":{},"fullyQualifiedName":"Audience"}],"formDataEntries":[]}]]></TemplafyFormConfiguration>
</file>

<file path=customXml/item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23a9d60-9e4d-4833-8448-44b4073b5c44">
      <Terms xmlns="http://schemas.microsoft.com/office/infopath/2007/PartnerControls"/>
    </lcf76f155ced4ddcb4097134ff3c332f>
    <SharedWithUsers xmlns="b6591109-79b0-4135-b59a-0642cc2f2c78">
      <UserInfo>
        <DisplayName>Bernt Asle Arntsen</DisplayName>
        <AccountId>37</AccountId>
        <AccountType/>
      </UserInfo>
    </SharedWithUsers>
  </documentManagement>
</p:properties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TemplateConfiguration><![CDATA[{"documentContentValidatorConfiguration":{"enableDocumentContentValidator":false,"documentContentValidatorVersion":0},"elementsMetadata":[],"slideId":"637274689482113909","enableDocumentContentUpdater":true,"version":"1.1"}]]></TemplafySlideTemplateConfiguration>
</file>

<file path=customXml/item15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B589F35622BF45A5FF53F3DCC5878D" ma:contentTypeVersion="11" ma:contentTypeDescription="Create a new document." ma:contentTypeScope="" ma:versionID="f26a2fd28cf54096135d8c0e262dfc6d">
  <xsd:schema xmlns:xsd="http://www.w3.org/2001/XMLSchema" xmlns:xs="http://www.w3.org/2001/XMLSchema" xmlns:p="http://schemas.microsoft.com/office/2006/metadata/properties" xmlns:ns2="023a9d60-9e4d-4833-8448-44b4073b5c44" xmlns:ns3="b6591109-79b0-4135-b59a-0642cc2f2c78" targetNamespace="http://schemas.microsoft.com/office/2006/metadata/properties" ma:root="true" ma:fieldsID="24f0527eb627cec97947752d8350fd1d" ns2:_="" ns3:_="">
    <xsd:import namespace="023a9d60-9e4d-4833-8448-44b4073b5c44"/>
    <xsd:import namespace="b6591109-79b0-4135-b59a-0642cc2f2c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3a9d60-9e4d-4833-8448-44b4073b5c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591109-79b0-4135-b59a-0642cc2f2c7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documentContentValidatorConfiguration":{"enableDocumentContentValidator":false,"documentContentValidatorVersion":0},"elementsMetadata":[],"slideId":"637274689481644962","enableDocumentContentUpdater":true,"version":"1.1"}]]></TemplafySlideTemplate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3.xml><?xml version="1.0" encoding="utf-8"?>
<TemplafySlideTemplateConfiguration><![CDATA[{"documentContentValidatorConfiguration":{"enableDocumentContentValidator":false,"documentContentValidatorVersion":0},"elementsMetadata":[],"slideId":"637274689481801232","enableDocumentContentUpdater":true,"version":"1.1"}]]></TemplafySlideTemplate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documentContentValidatorConfiguration":{"enableDocumentContentValidator":false,"documentContentValidatorVersion":0},"elementsMetadata":[],"slideId":"637274689482285485","enableDocumentContentUpdater":true,"version":"1.1"}]]></TemplafySlideTemplateConfiguration>
</file>

<file path=customXml/item6.xml><?xml version="1.0" encoding="utf-8"?>
<TemplafySlideTemplateConfiguration><![CDATA[{"documentContentValidatorConfiguration":{"enableDocumentContentValidator":false,"documentContentValidatorVersion":0},"elementsMetadata":[],"slideId":"637274689481644961","enableDocumentContentUpdater":true,"version":"1.1"}]]></TemplafySlideTemplateConfiguration>
</file>

<file path=customXml/item7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TemplateConfiguration><![CDATA[{"elementsMetadata":[],"transformationConfigurations":[{"language":"{{UserProfile.DocumentLanguage.Iana}}","disableUpdates":false,"type":"proofingLanguage"}],"templateName":"Presentation screen (16-9)","templateDescription":"","enableDocumentContentUpdater":true,"version":"1.1"}]]></TemplafyTemplateConfiguration>
</file>

<file path=customXml/itemProps1.xml><?xml version="1.0" encoding="utf-8"?>
<ds:datastoreItem xmlns:ds="http://schemas.openxmlformats.org/officeDocument/2006/customXml" ds:itemID="{73E560EA-D040-407D-89F2-11DBB1CFF549}">
  <ds:schemaRefs/>
</ds:datastoreItem>
</file>

<file path=customXml/itemProps10.xml><?xml version="1.0" encoding="utf-8"?>
<ds:datastoreItem xmlns:ds="http://schemas.openxmlformats.org/officeDocument/2006/customXml" ds:itemID="{EBD3D5FB-AEE0-46A7-8289-818A621CDF36}">
  <ds:schemaRefs/>
</ds:datastoreItem>
</file>

<file path=customXml/itemProps11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12.xml><?xml version="1.0" encoding="utf-8"?>
<ds:datastoreItem xmlns:ds="http://schemas.openxmlformats.org/officeDocument/2006/customXml" ds:itemID="{BA05E49B-70B5-4FEC-89D5-F69F52BE5B81}">
  <ds:schemaRefs>
    <ds:schemaRef ds:uri="http://schemas.microsoft.com/office/infopath/2007/PartnerControls"/>
    <ds:schemaRef ds:uri="b6591109-79b0-4135-b59a-0642cc2f2c78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023a9d60-9e4d-4833-8448-44b4073b5c44"/>
    <ds:schemaRef ds:uri="http://www.w3.org/XML/1998/namespace"/>
  </ds:schemaRefs>
</ds:datastoreItem>
</file>

<file path=customXml/itemProps13.xml><?xml version="1.0" encoding="utf-8"?>
<ds:datastoreItem xmlns:ds="http://schemas.openxmlformats.org/officeDocument/2006/customXml" ds:itemID="{A010FBFC-ED9D-4776-849D-81EABF9D112A}">
  <ds:schemaRefs/>
</ds:datastoreItem>
</file>

<file path=customXml/itemProps14.xml><?xml version="1.0" encoding="utf-8"?>
<ds:datastoreItem xmlns:ds="http://schemas.openxmlformats.org/officeDocument/2006/customXml" ds:itemID="{8F10D2E3-BD5E-41A7-9B58-448C4704E426}">
  <ds:schemaRefs/>
</ds:datastoreItem>
</file>

<file path=customXml/itemProps15.xml><?xml version="1.0" encoding="utf-8"?>
<ds:datastoreItem xmlns:ds="http://schemas.openxmlformats.org/officeDocument/2006/customXml" ds:itemID="{6C87A078-5F40-4D7F-9BEF-6750FB94DC63}">
  <ds:schemaRefs/>
</ds:datastoreItem>
</file>

<file path=customXml/itemProps16.xml><?xml version="1.0" encoding="utf-8"?>
<ds:datastoreItem xmlns:ds="http://schemas.openxmlformats.org/officeDocument/2006/customXml" ds:itemID="{E3206C3F-9075-4ED1-A9D7-768CD599C06F}">
  <ds:schemaRefs/>
</ds:datastoreItem>
</file>

<file path=customXml/itemProps17.xml><?xml version="1.0" encoding="utf-8"?>
<ds:datastoreItem xmlns:ds="http://schemas.openxmlformats.org/officeDocument/2006/customXml" ds:itemID="{4F3CD745-3DC1-44D0-A0B0-A6C5772528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3a9d60-9e4d-4833-8448-44b4073b5c44"/>
    <ds:schemaRef ds:uri="b6591109-79b0-4135-b59a-0642cc2f2c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8.xml><?xml version="1.0" encoding="utf-8"?>
<ds:datastoreItem xmlns:ds="http://schemas.openxmlformats.org/officeDocument/2006/customXml" ds:itemID="{33D450BC-85B7-4CCE-BD0D-CFB58CC94B3C}">
  <ds:schemaRefs/>
</ds:datastoreItem>
</file>

<file path=customXml/itemProps19.xml><?xml version="1.0" encoding="utf-8"?>
<ds:datastoreItem xmlns:ds="http://schemas.openxmlformats.org/officeDocument/2006/customXml" ds:itemID="{98A6CD30-0308-49AC-9087-7CF9A48AE377}">
  <ds:schemaRefs/>
</ds:datastoreItem>
</file>

<file path=customXml/itemProps2.xml><?xml version="1.0" encoding="utf-8"?>
<ds:datastoreItem xmlns:ds="http://schemas.openxmlformats.org/officeDocument/2006/customXml" ds:itemID="{4212848C-530B-4852-8730-679B69C20DA2}">
  <ds:schemaRefs/>
</ds:datastoreItem>
</file>

<file path=customXml/itemProps20.xml><?xml version="1.0" encoding="utf-8"?>
<ds:datastoreItem xmlns:ds="http://schemas.openxmlformats.org/officeDocument/2006/customXml" ds:itemID="{EE03465F-F7D7-4591-B744-AA3FB7C55319}">
  <ds:schemaRefs/>
</ds:datastoreItem>
</file>

<file path=customXml/itemProps21.xml><?xml version="1.0" encoding="utf-8"?>
<ds:datastoreItem xmlns:ds="http://schemas.openxmlformats.org/officeDocument/2006/customXml" ds:itemID="{33A9D2B1-910A-4890-A149-E85A43544B5D}">
  <ds:schemaRefs/>
</ds:datastoreItem>
</file>

<file path=customXml/itemProps22.xml><?xml version="1.0" encoding="utf-8"?>
<ds:datastoreItem xmlns:ds="http://schemas.openxmlformats.org/officeDocument/2006/customXml" ds:itemID="{74DD7968-5338-4A7C-9AB7-71E317FAD14A}">
  <ds:schemaRefs/>
</ds:datastoreItem>
</file>

<file path=customXml/itemProps23.xml><?xml version="1.0" encoding="utf-8"?>
<ds:datastoreItem xmlns:ds="http://schemas.openxmlformats.org/officeDocument/2006/customXml" ds:itemID="{AC27BC30-14D8-49B1-B695-A4E4118501F5}">
  <ds:schemaRefs/>
</ds:datastoreItem>
</file>

<file path=customXml/itemProps3.xml><?xml version="1.0" encoding="utf-8"?>
<ds:datastoreItem xmlns:ds="http://schemas.openxmlformats.org/officeDocument/2006/customXml" ds:itemID="{48FCFEE4-2E78-40CD-A932-180CFC151F96}">
  <ds:schemaRefs/>
</ds:datastoreItem>
</file>

<file path=customXml/itemProps4.xml><?xml version="1.0" encoding="utf-8"?>
<ds:datastoreItem xmlns:ds="http://schemas.openxmlformats.org/officeDocument/2006/customXml" ds:itemID="{B8637C36-4996-4BF0-9817-9AE4E45FB3C9}">
  <ds:schemaRefs/>
</ds:datastoreItem>
</file>

<file path=customXml/itemProps5.xml><?xml version="1.0" encoding="utf-8"?>
<ds:datastoreItem xmlns:ds="http://schemas.openxmlformats.org/officeDocument/2006/customXml" ds:itemID="{D095A0A8-BBFC-46BD-B6C9-F9F771063A0C}">
  <ds:schemaRefs/>
</ds:datastoreItem>
</file>

<file path=customXml/itemProps6.xml><?xml version="1.0" encoding="utf-8"?>
<ds:datastoreItem xmlns:ds="http://schemas.openxmlformats.org/officeDocument/2006/customXml" ds:itemID="{01E8759C-33B8-4AFE-B1FD-690677E2D93B}">
  <ds:schemaRefs/>
</ds:datastoreItem>
</file>

<file path=customXml/itemProps7.xml><?xml version="1.0" encoding="utf-8"?>
<ds:datastoreItem xmlns:ds="http://schemas.openxmlformats.org/officeDocument/2006/customXml" ds:itemID="{70F4ED2E-503E-45E3-825C-9B04A23593EA}">
  <ds:schemaRefs/>
</ds:datastoreItem>
</file>

<file path=customXml/itemProps8.xml><?xml version="1.0" encoding="utf-8"?>
<ds:datastoreItem xmlns:ds="http://schemas.openxmlformats.org/officeDocument/2006/customXml" ds:itemID="{B25CBE9C-579C-4D62-9791-670FFEF0C740}">
  <ds:schemaRefs/>
</ds:datastoreItem>
</file>

<file path=customXml/itemProps9.xml><?xml version="1.0" encoding="utf-8"?>
<ds:datastoreItem xmlns:ds="http://schemas.openxmlformats.org/officeDocument/2006/customXml" ds:itemID="{D49E55AD-80F4-4EC9-8430-FD8E8D9201D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7</Words>
  <Application>Microsoft Office PowerPoint</Application>
  <PresentationFormat>Widescreen</PresentationFormat>
  <Paragraphs>31</Paragraphs>
  <Slides>1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-tema</vt:lpstr>
      <vt:lpstr>think-cell Slide</vt:lpstr>
      <vt:lpstr> Brukerstøtte 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 ØL Innføring</dc:title>
  <dc:creator>Prestegard, Tor Sivertsen</dc:creator>
  <cp:lastModifiedBy>Anniken Westad</cp:lastModifiedBy>
  <cp:revision>5</cp:revision>
  <cp:lastPrinted>2014-06-25T02:16:22Z</cp:lastPrinted>
  <dcterms:created xsi:type="dcterms:W3CDTF">2021-02-05T11:28:59Z</dcterms:created>
  <dcterms:modified xsi:type="dcterms:W3CDTF">2024-10-04T12:1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B589F35622BF45A5FF53F3DCC5878D</vt:lpwstr>
  </property>
  <property fmtid="{D5CDD505-2E9C-101B-9397-08002B2CF9AE}" pid="3" name="TemplafyTimeStamp">
    <vt:lpwstr>2020-07-31T08:45:09.5009950Z</vt:lpwstr>
  </property>
  <property fmtid="{D5CDD505-2E9C-101B-9397-08002B2CF9AE}" pid="4" name="MSIP_Label_ea60d57e-af5b-4752-ac57-3e4f28ca11dc_SiteId">
    <vt:lpwstr>36da45f1-dd2c-4d1f-af13-5abe46b99921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Enabled">
    <vt:lpwstr>true</vt:lpwstr>
  </property>
  <property fmtid="{D5CDD505-2E9C-101B-9397-08002B2CF9AE}" pid="7" name="MSIP_Label_ea60d57e-af5b-4752-ac57-3e4f28ca11dc_Name">
    <vt:lpwstr>ea60d57e-af5b-4752-ac57-3e4f28ca11dc</vt:lpwstr>
  </property>
  <property fmtid="{D5CDD505-2E9C-101B-9397-08002B2CF9AE}" pid="8" name="MSIP_Label_ea60d57e-af5b-4752-ac57-3e4f28ca11dc_SetDate">
    <vt:lpwstr>2022-05-02T12:15:50Z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SIP_Label_ea60d57e-af5b-4752-ac57-3e4f28ca11dc_ActionId">
    <vt:lpwstr>90ffa8a3-c158-4b4e-85f3-e5875a381f84</vt:lpwstr>
  </property>
  <property fmtid="{D5CDD505-2E9C-101B-9397-08002B2CF9AE}" pid="11" name="MediaServiceImageTags">
    <vt:lpwstr/>
  </property>
</Properties>
</file>